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Size Bracket" id="{8DDFD551-0330-4AA2-BEB6-B3EF17472ED4}">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2000000000000002E-3</c:v>
                </c:pt>
                <c:pt idx="1">
                  <c:v>0.60570000000000002</c:v>
                </c:pt>
                <c:pt idx="2">
                  <c:v>8.3199999999999996E-2</c:v>
                </c:pt>
                <c:pt idx="3">
                  <c:v>0.12989999999999999</c:v>
                </c:pt>
                <c:pt idx="4">
                  <c:v>7.5800000000000006E-2</c:v>
                </c:pt>
                <c:pt idx="5">
                  <c:v>9.6699999999999994E-2</c:v>
                </c:pt>
                <c:pt idx="6">
                  <c:v>5.4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7030000000000003</c:v>
                </c:pt>
                <c:pt idx="2">
                  <c:v>3.6400000000000002E-2</c:v>
                </c:pt>
                <c:pt idx="3">
                  <c:v>0.20730000000000001</c:v>
                </c:pt>
                <c:pt idx="4">
                  <c:v>4.1200000000000001E-2</c:v>
                </c:pt>
                <c:pt idx="5">
                  <c:v>0.1448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2.01963697702212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3284339380943405E-2</c:v>
                </c:pt>
                <c:pt idx="2">
                  <c:v>4.9937142870147819E-2</c:v>
                </c:pt>
                <c:pt idx="3">
                  <c:v>3.2271146328996865E-2</c:v>
                </c:pt>
                <c:pt idx="4">
                  <c:v>0.11998009164529508</c:v>
                </c:pt>
                <c:pt idx="5">
                  <c:v>2.8803939355485066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4.8362083002782293E-4</c:v>
                </c:pt>
                <c:pt idx="6">
                  <c:v>7.096876989533177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0">
                  <c:v>2.5082096443099704E-3</c:v>
                </c:pt>
                <c:pt idx="1">
                  <c:v>8.9970293947620947E-3</c:v>
                </c:pt>
                <c:pt idx="2">
                  <c:v>5.9580533412977407E-2</c:v>
                </c:pt>
                <c:pt idx="3">
                  <c:v>2.0279902063345786E-2</c:v>
                </c:pt>
                <c:pt idx="4">
                  <c:v>2.8778085772375995E-2</c:v>
                </c:pt>
                <c:pt idx="5">
                  <c:v>1.0581592925549905E-2</c:v>
                </c:pt>
                <c:pt idx="6">
                  <c:v>4.1133577300344319E-4</c:v>
                </c:pt>
                <c:pt idx="7">
                  <c:v>3.0421723422574699E-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2.6491884130652482E-2</c:v>
                </c:pt>
                <c:pt idx="2">
                  <c:v>1.1780940166630427E-3</c:v>
                </c:pt>
                <c:pt idx="3">
                  <c:v>3.6588281597770209E-2</c:v>
                </c:pt>
                <c:pt idx="4">
                  <c:v>7.6997068638785304E-2</c:v>
                </c:pt>
                <c:pt idx="5">
                  <c:v>3.2140786868523931E-2</c:v>
                </c:pt>
                <c:pt idx="6">
                  <c:v>0.10836727872892564</c:v>
                </c:pt>
                <c:pt idx="7">
                  <c:v>8.54013897708019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0510880423741025E-6</c:v>
                </c:pt>
                <c:pt idx="5">
                  <c:v>2.0440911162562702E-4</c:v>
                </c:pt>
                <c:pt idx="6">
                  <c:v>3.13646201092882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597598313584759E-2</c:v>
                </c:pt>
                <c:pt idx="1">
                  <c:v>6.4050867953944088E-2</c:v>
                </c:pt>
                <c:pt idx="2">
                  <c:v>4.0332572808938108E-2</c:v>
                </c:pt>
                <c:pt idx="3">
                  <c:v>6.2286263589330183E-2</c:v>
                </c:pt>
                <c:pt idx="4">
                  <c:v>9.4665496036186583E-2</c:v>
                </c:pt>
                <c:pt idx="5">
                  <c:v>4.4773801587133816E-2</c:v>
                </c:pt>
                <c:pt idx="6">
                  <c:v>0.14008304806708963</c:v>
                </c:pt>
                <c:pt idx="7">
                  <c:v>8.87471926507836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5515964703054846E-6</c:v>
                </c:pt>
                <c:pt idx="5">
                  <c:v>2.2249921231024352E-4</c:v>
                </c:pt>
                <c:pt idx="6">
                  <c:v>3.40616939581945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463130398387748E-2</c:v>
                </c:pt>
                <c:pt idx="1">
                  <c:v>6.7849408152937427E-2</c:v>
                </c:pt>
                <c:pt idx="2">
                  <c:v>4.2205978031097213E-2</c:v>
                </c:pt>
                <c:pt idx="3">
                  <c:v>6.553960239749787E-2</c:v>
                </c:pt>
                <c:pt idx="4">
                  <c:v>8.4521038413725061E-2</c:v>
                </c:pt>
                <c:pt idx="5">
                  <c:v>4.297045765446697E-2</c:v>
                </c:pt>
                <c:pt idx="6">
                  <c:v>0.13682563146853269</c:v>
                </c:pt>
                <c:pt idx="7">
                  <c:v>9.52455946804066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9.9055420648194184E-6</c:v>
                </c:pt>
                <c:pt idx="5">
                  <c:v>1.9719227475071418E-7</c:v>
                </c:pt>
                <c:pt idx="6">
                  <c:v>2.545003435608615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3.6099420626731681E-2</c:v>
                </c:pt>
                <c:pt idx="2">
                  <c:v>2.1280657310724264E-2</c:v>
                </c:pt>
                <c:pt idx="3">
                  <c:v>8.9085285383259716E-2</c:v>
                </c:pt>
                <c:pt idx="4">
                  <c:v>7.3996693643681444E-2</c:v>
                </c:pt>
                <c:pt idx="5">
                  <c:v>2.9880277810547196E-2</c:v>
                </c:pt>
                <c:pt idx="6">
                  <c:v>0.14878096824050777</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2.053443141807104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6182537091837779E-2</c:v>
                </c:pt>
                <c:pt idx="2">
                  <c:v>5.0773027387992394E-2</c:v>
                </c:pt>
                <c:pt idx="3">
                  <c:v>2.659621791440234E-2</c:v>
                </c:pt>
                <c:pt idx="4">
                  <c:v>0.12048265448957994</c:v>
                </c:pt>
                <c:pt idx="5">
                  <c:v>2.9286080815255626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9782484273553414E-2</c:v>
                </c:pt>
                <c:pt idx="2">
                  <c:v>1.9000361706113351E-3</c:v>
                </c:pt>
                <c:pt idx="3">
                  <c:v>1.0826972869844109E-2</c:v>
                </c:pt>
                <c:pt idx="4">
                  <c:v>2.1517942985416626E-3</c:v>
                </c:pt>
                <c:pt idx="5">
                  <c:v>7.55980687765849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5018551073899879E-3</c:v>
                </c:pt>
                <c:pt idx="2">
                  <c:v>4.803710669953648E-2</c:v>
                </c:pt>
                <c:pt idx="3">
                  <c:v>2.1444173459152754E-2</c:v>
                </c:pt>
                <c:pt idx="4">
                  <c:v>0.11782829734675342</c:v>
                </c:pt>
                <c:pt idx="5">
                  <c:v>2.144609617552878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5.0720174265126176E-4</c:v>
                </c:pt>
                <c:pt idx="6">
                  <c:v>7.442914268737731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0">
                  <c:v>9.0986209265394539E-4</c:v>
                </c:pt>
                <c:pt idx="1">
                  <c:v>9.4357163802176007E-3</c:v>
                </c:pt>
                <c:pt idx="2">
                  <c:v>5.766459814853258E-2</c:v>
                </c:pt>
                <c:pt idx="3">
                  <c:v>2.1268731677116025E-2</c:v>
                </c:pt>
                <c:pt idx="4">
                  <c:v>3.0181279108835855E-2</c:v>
                </c:pt>
                <c:pt idx="5">
                  <c:v>1.1097541790241767E-2</c:v>
                </c:pt>
                <c:pt idx="6">
                  <c:v>4.3139213186939784E-4</c:v>
                </c:pt>
                <c:pt idx="7">
                  <c:v>3.1905059038703734E-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2.6061195700129158E-2</c:v>
                </c:pt>
                <c:pt idx="2">
                  <c:v>3.8891756487235236E-4</c:v>
                </c:pt>
                <c:pt idx="3">
                  <c:v>3.7306287540704856E-2</c:v>
                </c:pt>
                <c:pt idx="4">
                  <c:v>7.4972604529626063E-2</c:v>
                </c:pt>
                <c:pt idx="5">
                  <c:v>3.3111050489230132E-2</c:v>
                </c:pt>
                <c:pt idx="6">
                  <c:v>0.10709268771372114</c:v>
                </c:pt>
                <c:pt idx="7">
                  <c:v>8.735131119429885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2.404361601835199E-5</c:v>
                </c:pt>
                <c:pt idx="5">
                  <c:v>9.7300505343577662E-4</c:v>
                </c:pt>
                <c:pt idx="6">
                  <c:v>1.492983048687383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826935391761814</c:v>
                </c:pt>
                <c:pt idx="4">
                  <c:v>0.117440437323173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999686719448667E-2</c:v>
                </c:pt>
                <c:pt idx="2">
                  <c:v>2.9947161467412886E-2</c:v>
                </c:pt>
                <c:pt idx="3">
                  <c:v>8.559274109821673E-3</c:v>
                </c:pt>
                <c:pt idx="4">
                  <c:v>3.939748857059025E-2</c:v>
                </c:pt>
                <c:pt idx="5">
                  <c:v>1.9269225261800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07098094125178E-2</c:v>
                </c:pt>
                <c:pt idx="2">
                  <c:v>3.4736949732887745E-4</c:v>
                </c:pt>
                <c:pt idx="3">
                  <c:v>1.7014551433373611E-2</c:v>
                </c:pt>
                <c:pt idx="4">
                  <c:v>3.7758828975228545E-2</c:v>
                </c:pt>
                <c:pt idx="5">
                  <c:v>2.2443790612292663E-2</c:v>
                </c:pt>
                <c:pt idx="6">
                  <c:v>4.9064454141954129E-2</c:v>
                </c:pt>
                <c:pt idx="7">
                  <c:v>3.25540215119311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2.5741098478220688E-5</c:v>
                </c:pt>
                <c:pt idx="5">
                  <c:v>1.0316625435654826E-3</c:v>
                </c:pt>
                <c:pt idx="6">
                  <c:v>1.579339246291892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71293547604216</c:v>
                </c:pt>
                <c:pt idx="4">
                  <c:v>9.83460098816265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672797842506237E-2</c:v>
                </c:pt>
                <c:pt idx="2">
                  <c:v>3.1607958218261151E-2</c:v>
                </c:pt>
                <c:pt idx="3">
                  <c:v>8.6694999993999974E-3</c:v>
                </c:pt>
                <c:pt idx="4">
                  <c:v>4.0580169747638443E-2</c:v>
                </c:pt>
                <c:pt idx="5">
                  <c:v>2.037723578522528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642774766393725E-2</c:v>
                </c:pt>
                <c:pt idx="2">
                  <c:v>3.7198624611672432E-4</c:v>
                </c:pt>
                <c:pt idx="3">
                  <c:v>1.7948527727416272E-2</c:v>
                </c:pt>
                <c:pt idx="4">
                  <c:v>3.7190768140934395E-2</c:v>
                </c:pt>
                <c:pt idx="5">
                  <c:v>2.3018801529507998E-2</c:v>
                </c:pt>
                <c:pt idx="6">
                  <c:v>5.0514392886391257E-2</c:v>
                </c:pt>
                <c:pt idx="7">
                  <c:v>3.43633117605795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7.175347683782796E-5</c:v>
                </c:pt>
                <c:pt idx="5">
                  <c:v>1.4284156511915153E-6</c:v>
                </c:pt>
                <c:pt idx="6">
                  <c:v>1.843542169365008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7158138927590516</c:v>
                </c:pt>
                <c:pt idx="4">
                  <c:v>0.1015666088986447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1683274150275851</c:v>
                </c:pt>
                <c:pt idx="2">
                  <c:v>5.0645424368439759E-2</c:v>
                </c:pt>
                <c:pt idx="3">
                  <c:v>3.0875103045724266E-2</c:v>
                </c:pt>
                <c:pt idx="4">
                  <c:v>1.4460144552626257E-2</c:v>
                </c:pt>
                <c:pt idx="5">
                  <c:v>1.6208727819245348E-2</c:v>
                </c:pt>
                <c:pt idx="6">
                  <c:v>1.1634282748057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7.9038939095227925E-3</c:v>
                </c:pt>
                <c:pt idx="4">
                  <c:v>5.209615584996926E-2</c:v>
                </c:pt>
                <c:pt idx="6">
                  <c:v>9.9772066810478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6.5613900464540298E-2</c:v>
                </c:pt>
                <c:pt idx="2">
                  <c:v>3.1080831061917391E-2</c:v>
                </c:pt>
                <c:pt idx="3">
                  <c:v>3.4368298945076349E-2</c:v>
                </c:pt>
                <c:pt idx="4">
                  <c:v>7.6420790623795767E-2</c:v>
                </c:pt>
                <c:pt idx="5">
                  <c:v>7.2837456272490275E-2</c:v>
                </c:pt>
                <c:pt idx="6">
                  <c:v>3.0284538155647214E-2</c:v>
                </c:pt>
                <c:pt idx="7">
                  <c:v>2.43717761065579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8169999999999999</c:v>
                </c:pt>
                <c:pt idx="2">
                  <c:v>6.3200000000000006E-2</c:v>
                </c:pt>
                <c:pt idx="3">
                  <c:v>0.13930000000000001</c:v>
                </c:pt>
                <c:pt idx="4">
                  <c:v>8.8400000000000006E-2</c:v>
                </c:pt>
                <c:pt idx="5">
                  <c:v>0.1207</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9.59099895835080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1785822763109594</c:v>
                </c:pt>
                <c:pt idx="4">
                  <c:v>0.594813369632664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4.2487175043650502E-2</c:v>
                </c:pt>
                <c:pt idx="2">
                  <c:v>9.0230299506753944E-3</c:v>
                </c:pt>
                <c:pt idx="3">
                  <c:v>2.2387072369463093E-2</c:v>
                </c:pt>
                <c:pt idx="5">
                  <c:v>3.5900560701687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3243293102195291E-3</c:v>
                </c:pt>
                <c:pt idx="3">
                  <c:v>2.8177449319760215E-2</c:v>
                </c:pt>
                <c:pt idx="4">
                  <c:v>3.6226658393102382E-3</c:v>
                </c:pt>
                <c:pt idx="5">
                  <c:v>3.37729130213603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4">
                  <c:v>4.0335489304927433E-3</c:v>
                </c:pt>
                <c:pt idx="6">
                  <c:v>4.0273996597403518E-3</c:v>
                </c:pt>
                <c:pt idx="7">
                  <c:v>1.6131586940439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1.6145282415694878E-3</c:v>
                </c:pt>
                <c:pt idx="6">
                  <c:v>2.369233832605343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2134907856927902</c:v>
                </c:pt>
                <c:pt idx="4">
                  <c:v>9.458941465665658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5702576509496746</c:v>
                </c:pt>
                <c:pt idx="2">
                  <c:v>3.4520681209163254E-2</c:v>
                </c:pt>
                <c:pt idx="3">
                  <c:v>7.5562036599509136E-2</c:v>
                </c:pt>
                <c:pt idx="4">
                  <c:v>1.6345943450085051E-2</c:v>
                </c:pt>
                <c:pt idx="5">
                  <c:v>6.5949985294559879E-2</c:v>
                </c:pt>
                <c:pt idx="6">
                  <c:v>3.68728691419153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eal Paris</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7">
                  <c:v>4.01132983601923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2530594744587797E-2</c:v>
                </c:pt>
                <c:pt idx="2">
                  <c:v>3.261344976137924E-2</c:v>
                </c:pt>
                <c:pt idx="3">
                  <c:v>1.7844696882331933E-2</c:v>
                </c:pt>
                <c:pt idx="4">
                  <c:v>4.9525690016431562E-2</c:v>
                </c:pt>
                <c:pt idx="5">
                  <c:v>2.6995312509568894E-2</c:v>
                </c:pt>
                <c:pt idx="6">
                  <c:v>6.039899369473342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0">
                  <c:v>2.5082096443099704E-3</c:v>
                </c:pt>
                <c:pt idx="1">
                  <c:v>8.9970293947620947E-3</c:v>
                </c:pt>
                <c:pt idx="2">
                  <c:v>5.9580533412977407E-2</c:v>
                </c:pt>
                <c:pt idx="3">
                  <c:v>2.0279902063345786E-2</c:v>
                </c:pt>
                <c:pt idx="4">
                  <c:v>2.8778085772375995E-2</c:v>
                </c:pt>
                <c:pt idx="5">
                  <c:v>1.0581592925549905E-2</c:v>
                </c:pt>
                <c:pt idx="6">
                  <c:v>4.1133577300344319E-4</c:v>
                </c:pt>
                <c:pt idx="7">
                  <c:v>3.0421723422574699E-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0943838380335276E-2</c:v>
                </c:pt>
                <c:pt idx="3">
                  <c:v>5.0819616748649411E-3</c:v>
                </c:pt>
                <c:pt idx="5">
                  <c:v>2.0004412670982445E-3</c:v>
                </c:pt>
                <c:pt idx="6">
                  <c:v>4.4900179708725688E-2</c:v>
                </c:pt>
                <c:pt idx="7">
                  <c:v>2.86476015247063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1.5548045750317204E-2</c:v>
                </c:pt>
                <c:pt idx="2">
                  <c:v>1.1780940166630427E-3</c:v>
                </c:pt>
                <c:pt idx="3">
                  <c:v>3.1506319922905271E-2</c:v>
                </c:pt>
                <c:pt idx="4">
                  <c:v>7.6997068638785304E-2</c:v>
                </c:pt>
                <c:pt idx="5">
                  <c:v>3.0623966431453507E-2</c:v>
                </c:pt>
                <c:pt idx="6">
                  <c:v>7.0563976009733131E-2</c:v>
                </c:pt>
                <c:pt idx="7">
                  <c:v>8.25366296183313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6789999999999996</c:v>
                </c:pt>
                <c:pt idx="2">
                  <c:v>9.2200000000000004E-2</c:v>
                </c:pt>
                <c:pt idx="3">
                  <c:v>0.1424</c:v>
                </c:pt>
                <c:pt idx="4">
                  <c:v>8.4099999999999994E-2</c:v>
                </c:pt>
                <c:pt idx="5">
                  <c:v>0.1072</c:v>
                </c:pt>
                <c:pt idx="6">
                  <c:v>6.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pt idx="7">
                  <c:v>3.615955001060676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597598313584759E-2</c:v>
                </c:pt>
                <c:pt idx="1">
                  <c:v>1.3606645756977615E-2</c:v>
                </c:pt>
                <c:pt idx="2">
                  <c:v>3.2140988145934184E-2</c:v>
                </c:pt>
                <c:pt idx="3">
                  <c:v>4.9645165366095818E-2</c:v>
                </c:pt>
                <c:pt idx="4">
                  <c:v>8.7199206335950671E-2</c:v>
                </c:pt>
                <c:pt idx="5">
                  <c:v>3.5452893707780882E-2</c:v>
                </c:pt>
                <c:pt idx="6">
                  <c:v>0.14267554375509317</c:v>
                </c:pt>
                <c:pt idx="7">
                  <c:v>8.87435766957825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6910000000000005</c:v>
                </c:pt>
                <c:pt idx="2">
                  <c:v>9.1700000000000004E-2</c:v>
                </c:pt>
                <c:pt idx="3">
                  <c:v>0.1371</c:v>
                </c:pt>
                <c:pt idx="4">
                  <c:v>8.6499999999999994E-2</c:v>
                </c:pt>
                <c:pt idx="5">
                  <c:v>0.10929999999999999</c:v>
                </c:pt>
                <c:pt idx="6">
                  <c:v>6.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463130398387748E-2</c:v>
                </c:pt>
                <c:pt idx="1">
                  <c:v>1.3996147432109571E-2</c:v>
                </c:pt>
                <c:pt idx="2">
                  <c:v>3.3527816270337296E-2</c:v>
                </c:pt>
                <c:pt idx="3">
                  <c:v>5.2576312673299666E-2</c:v>
                </c:pt>
                <c:pt idx="4">
                  <c:v>7.6333958756218387E-2</c:v>
                </c:pt>
                <c:pt idx="5">
                  <c:v>3.285333954751022E-2</c:v>
                </c:pt>
                <c:pt idx="6">
                  <c:v>0.13963386353928822</c:v>
                </c:pt>
                <c:pt idx="7">
                  <c:v>9.52455946804066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63380000000000003</c:v>
                </c:pt>
                <c:pt idx="2">
                  <c:v>0.15379999999999999</c:v>
                </c:pt>
                <c:pt idx="3">
                  <c:v>9.9500000000000005E-2</c:v>
                </c:pt>
                <c:pt idx="4">
                  <c:v>6.0100000000000001E-2</c:v>
                </c:pt>
                <c:pt idx="5">
                  <c:v>4.9299999999999997E-2</c:v>
                </c:pt>
                <c:pt idx="6">
                  <c:v>3.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8808003131640968E-2</c:v>
                </c:pt>
                <c:pt idx="2">
                  <c:v>6.9915828971751394E-3</c:v>
                </c:pt>
                <c:pt idx="3">
                  <c:v>4.5216772688848779E-3</c:v>
                </c:pt>
                <c:pt idx="4">
                  <c:v>2.7321099495320172E-3</c:v>
                </c:pt>
                <c:pt idx="5">
                  <c:v>2.2396913854435081E-3</c:v>
                </c:pt>
                <c:pt idx="6">
                  <c:v>1.606108612901873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7.2914174950907155E-3</c:v>
                </c:pt>
                <c:pt idx="2">
                  <c:v>1.4289074413549126E-2</c:v>
                </c:pt>
                <c:pt idx="3">
                  <c:v>8.4573513656439669E-2</c:v>
                </c:pt>
                <c:pt idx="4">
                  <c:v>7.1264583694149439E-2</c:v>
                </c:pt>
                <c:pt idx="5">
                  <c:v>2.7640783617378439E-2</c:v>
                </c:pt>
                <c:pt idx="6">
                  <c:v>0.14887485772277845</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7679999999999998</c:v>
                </c:pt>
                <c:pt idx="2">
                  <c:v>4.9299999999999997E-2</c:v>
                </c:pt>
                <c:pt idx="3">
                  <c:v>0.1222</c:v>
                </c:pt>
                <c:pt idx="4">
                  <c:v>5.5800000000000002E-2</c:v>
                </c:pt>
                <c:pt idx="5">
                  <c:v>0.196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2622065365639349E-2</c:v>
                </c:pt>
                <c:pt idx="2">
                  <c:v>1.9318403693915609E-3</c:v>
                </c:pt>
                <c:pt idx="3">
                  <c:v>4.7930961542006134E-3</c:v>
                </c:pt>
                <c:pt idx="4">
                  <c:v>2.187812609489373E-3</c:v>
                </c:pt>
                <c:pt idx="5">
                  <c:v>7.686348469021893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5604717261984321E-3</c:v>
                </c:pt>
                <c:pt idx="2">
                  <c:v>4.8841187018600837E-2</c:v>
                </c:pt>
                <c:pt idx="3">
                  <c:v>2.1803121760201726E-2</c:v>
                </c:pt>
                <c:pt idx="4">
                  <c:v>0.11829484188009057</c:v>
                </c:pt>
                <c:pt idx="5">
                  <c:v>2.1805076660414442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4449999999999998</c:v>
                </c:pt>
                <c:pt idx="2">
                  <c:v>6.8900000000000003E-2</c:v>
                </c:pt>
                <c:pt idx="3">
                  <c:v>0.15090000000000001</c:v>
                </c:pt>
                <c:pt idx="4">
                  <c:v>9.6500000000000002E-2</c:v>
                </c:pt>
                <c:pt idx="5">
                  <c:v>0.13170000000000001</c:v>
                </c:pt>
                <c:pt idx="6">
                  <c:v>7.400000000000000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2.9923140178641106E-4</c:v>
                </c:pt>
                <c:pt idx="1">
                  <c:v>5.7301451869942767E-2</c:v>
                </c:pt>
                <c:pt idx="2">
                  <c:v>7.8708074862622428E-3</c:v>
                </c:pt>
                <c:pt idx="3">
                  <c:v>1.2287473677491291E-2</c:v>
                </c:pt>
                <c:pt idx="4">
                  <c:v>7.1739953034813345E-3</c:v>
                </c:pt>
                <c:pt idx="5">
                  <c:v>9.1523117157312137E-3</c:v>
                </c:pt>
                <c:pt idx="6">
                  <c:v>5.2266495225169541E-4</c:v>
                </c:pt>
                <c:pt idx="7">
                  <c:v>3.474356533342482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838858638743975E-2</c:v>
                </c:pt>
                <c:pt idx="1">
                  <c:v>1.4769376892498333E-2</c:v>
                </c:pt>
                <c:pt idx="2">
                  <c:v>3.6825198124453826E-2</c:v>
                </c:pt>
                <c:pt idx="3">
                  <c:v>4.8920678145869735E-2</c:v>
                </c:pt>
                <c:pt idx="4">
                  <c:v>8.6847414064419287E-2</c:v>
                </c:pt>
                <c:pt idx="5">
                  <c:v>3.4400388994708944E-2</c:v>
                </c:pt>
                <c:pt idx="6">
                  <c:v>0.14272702856129194</c:v>
                </c:pt>
                <c:pt idx="7">
                  <c:v>8.7051045641112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0">
                  <c:v>9.0986209265394539E-4</c:v>
                </c:pt>
                <c:pt idx="1">
                  <c:v>9.4357163802176007E-3</c:v>
                </c:pt>
                <c:pt idx="2">
                  <c:v>5.766459814853258E-2</c:v>
                </c:pt>
                <c:pt idx="3">
                  <c:v>2.1268731677116025E-2</c:v>
                </c:pt>
                <c:pt idx="4">
                  <c:v>3.0181279108835855E-2</c:v>
                </c:pt>
                <c:pt idx="5">
                  <c:v>1.1097541790241767E-2</c:v>
                </c:pt>
                <c:pt idx="6">
                  <c:v>4.3139213186939784E-4</c:v>
                </c:pt>
                <c:pt idx="7">
                  <c:v>3.1905059038703734E-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1477450004542769E-2</c:v>
                </c:pt>
                <c:pt idx="3">
                  <c:v>5.3297535125402555E-3</c:v>
                </c:pt>
                <c:pt idx="5">
                  <c:v>2.0979809672080417E-3</c:v>
                </c:pt>
                <c:pt idx="6">
                  <c:v>4.708947170929409E-2</c:v>
                </c:pt>
                <c:pt idx="7">
                  <c:v>3.004443256770822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1.4583745695586389E-2</c:v>
                </c:pt>
                <c:pt idx="2">
                  <c:v>3.8891756487235236E-4</c:v>
                </c:pt>
                <c:pt idx="3">
                  <c:v>3.1976534028164603E-2</c:v>
                </c:pt>
                <c:pt idx="4">
                  <c:v>7.4972604529626063E-2</c:v>
                </c:pt>
                <c:pt idx="5">
                  <c:v>3.1520271264673355E-2</c:v>
                </c:pt>
                <c:pt idx="6">
                  <c:v>6.7446130273164789E-2</c:v>
                </c:pt>
                <c:pt idx="7">
                  <c:v>8.43468679375280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45929999999999999</c:v>
                </c:pt>
                <c:pt idx="2">
                  <c:v>0.13089999999999999</c:v>
                </c:pt>
                <c:pt idx="3">
                  <c:v>0.19989999999999999</c:v>
                </c:pt>
                <c:pt idx="4">
                  <c:v>4.9000000000000002E-2</c:v>
                </c:pt>
                <c:pt idx="5">
                  <c:v>0.1522</c:v>
                </c:pt>
                <c:pt idx="6">
                  <c:v>8.699999999999999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826935391761814</c:v>
                </c:pt>
                <c:pt idx="4">
                  <c:v>0.117440437323173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7999686719448667E-2</c:v>
                </c:pt>
                <c:pt idx="2">
                  <c:v>2.9947161467412886E-2</c:v>
                </c:pt>
                <c:pt idx="3">
                  <c:v>8.559274109821673E-3</c:v>
                </c:pt>
                <c:pt idx="4">
                  <c:v>3.939748857059025E-2</c:v>
                </c:pt>
                <c:pt idx="5">
                  <c:v>1.92692252618000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738216181025278E-3</c:v>
                </c:pt>
                <c:pt idx="4">
                  <c:v>2.0304801624116159E-2</c:v>
                </c:pt>
                <c:pt idx="5">
                  <c:v>5.2669172103445093E-4</c:v>
                </c:pt>
                <c:pt idx="6">
                  <c:v>3.4716786386033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07098094125178E-2</c:v>
                </c:pt>
                <c:pt idx="2">
                  <c:v>3.4736949732887745E-4</c:v>
                </c:pt>
                <c:pt idx="3">
                  <c:v>1.4300378868366685E-2</c:v>
                </c:pt>
                <c:pt idx="4">
                  <c:v>1.745402735111239E-2</c:v>
                </c:pt>
                <c:pt idx="5">
                  <c:v>2.2890103944693988E-2</c:v>
                </c:pt>
                <c:pt idx="6">
                  <c:v>2.9277498242794124E-2</c:v>
                </c:pt>
                <c:pt idx="7">
                  <c:v>3.25540215119311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4622</c:v>
                </c:pt>
                <c:pt idx="2">
                  <c:v>0.1303</c:v>
                </c:pt>
                <c:pt idx="3">
                  <c:v>0.19259999999999999</c:v>
                </c:pt>
                <c:pt idx="4">
                  <c:v>5.0599999999999999E-2</c:v>
                </c:pt>
                <c:pt idx="5">
                  <c:v>0.15529999999999999</c:v>
                </c:pt>
                <c:pt idx="6">
                  <c:v>8.999999999999999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71293547604216</c:v>
                </c:pt>
                <c:pt idx="4">
                  <c:v>9.83460098816265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7672797842506237E-2</c:v>
                </c:pt>
                <c:pt idx="2">
                  <c:v>3.1607958218261151E-2</c:v>
                </c:pt>
                <c:pt idx="3">
                  <c:v>8.6694999993999974E-3</c:v>
                </c:pt>
                <c:pt idx="4">
                  <c:v>4.0580169747638443E-2</c:v>
                </c:pt>
                <c:pt idx="5">
                  <c:v>2.037723578522528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9318555920742921E-3</c:v>
                </c:pt>
                <c:pt idx="4">
                  <c:v>2.0172630247094502E-2</c:v>
                </c:pt>
                <c:pt idx="5">
                  <c:v>5.639573442677002E-4</c:v>
                </c:pt>
                <c:pt idx="6">
                  <c:v>3.65993857980864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642774766393725E-2</c:v>
                </c:pt>
                <c:pt idx="2">
                  <c:v>3.7198624611672432E-4</c:v>
                </c:pt>
                <c:pt idx="3">
                  <c:v>1.5042413233820199E-2</c:v>
                </c:pt>
                <c:pt idx="4">
                  <c:v>1.7018137893839894E-2</c:v>
                </c:pt>
                <c:pt idx="5">
                  <c:v>2.348650672880578E-2</c:v>
                </c:pt>
                <c:pt idx="6">
                  <c:v>2.9708399551223758E-2</c:v>
                </c:pt>
                <c:pt idx="7">
                  <c:v>3.43633117605795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0760000000000005</c:v>
                </c:pt>
                <c:pt idx="2">
                  <c:v>0.22</c:v>
                </c:pt>
                <c:pt idx="3">
                  <c:v>0.1341</c:v>
                </c:pt>
                <c:pt idx="4">
                  <c:v>6.2799999999999995E-2</c:v>
                </c:pt>
                <c:pt idx="5">
                  <c:v>7.0400000000000004E-2</c:v>
                </c:pt>
                <c:pt idx="6">
                  <c:v>5.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1683274150275851</c:v>
                </c:pt>
                <c:pt idx="2">
                  <c:v>5.0645424368439759E-2</c:v>
                </c:pt>
                <c:pt idx="3">
                  <c:v>3.0875103045724266E-2</c:v>
                </c:pt>
                <c:pt idx="4">
                  <c:v>1.4460144552626257E-2</c:v>
                </c:pt>
                <c:pt idx="5">
                  <c:v>1.6208727819245348E-2</c:v>
                </c:pt>
                <c:pt idx="6">
                  <c:v>1.1634282748057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7158138927590516</c:v>
                </c:pt>
                <c:pt idx="4">
                  <c:v>0.1015666088986447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7.9038939095227925E-3</c:v>
                </c:pt>
                <c:pt idx="4">
                  <c:v>5.209615584996926E-2</c:v>
                </c:pt>
                <c:pt idx="6">
                  <c:v>9.977206681047882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3663694195172655E-2</c:v>
                </c:pt>
                <c:pt idx="2">
                  <c:v>3.1080831061917391E-2</c:v>
                </c:pt>
                <c:pt idx="3">
                  <c:v>1.4218955665862031E-3</c:v>
                </c:pt>
                <c:pt idx="4">
                  <c:v>4.372561120404974E-2</c:v>
                </c:pt>
                <c:pt idx="5">
                  <c:v>2.77109598687743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4.1950206269367643E-2</c:v>
                </c:pt>
                <c:pt idx="3">
                  <c:v>3.3018156855327975E-2</c:v>
                </c:pt>
                <c:pt idx="4">
                  <c:v>3.2695179419746027E-2</c:v>
                </c:pt>
                <c:pt idx="5">
                  <c:v>4.5127924819367081E-2</c:v>
                </c:pt>
                <c:pt idx="6">
                  <c:v>3.2128080325012222E-2</c:v>
                </c:pt>
                <c:pt idx="7">
                  <c:v>2.43717761065579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3E-3</c:v>
                </c:pt>
                <c:pt idx="1">
                  <c:v>0.60660000000000003</c:v>
                </c:pt>
                <c:pt idx="2">
                  <c:v>8.2799999999999999E-2</c:v>
                </c:pt>
                <c:pt idx="3">
                  <c:v>0.12479999999999999</c:v>
                </c:pt>
                <c:pt idx="4">
                  <c:v>7.8100000000000003E-2</c:v>
                </c:pt>
                <c:pt idx="5">
                  <c:v>9.8699999999999996E-2</c:v>
                </c:pt>
                <c:pt idx="6">
                  <c:v>5.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8700000000000001</c:v>
                </c:pt>
                <c:pt idx="2">
                  <c:v>8.2199999999999995E-2</c:v>
                </c:pt>
                <c:pt idx="3">
                  <c:v>0.2039</c:v>
                </c:pt>
                <c:pt idx="5">
                  <c:v>0.327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4.2487175043650502E-2</c:v>
                </c:pt>
                <c:pt idx="2">
                  <c:v>9.0230299506753944E-3</c:v>
                </c:pt>
                <c:pt idx="3">
                  <c:v>2.2387072369463093E-2</c:v>
                </c:pt>
                <c:pt idx="5">
                  <c:v>3.59005607016876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1785822763109594</c:v>
                </c:pt>
                <c:pt idx="4">
                  <c:v>0.594813369632664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1.3243293102195291E-3</c:v>
                </c:pt>
                <c:pt idx="3">
                  <c:v>2.8177449319760215E-2</c:v>
                </c:pt>
                <c:pt idx="4">
                  <c:v>3.6226658393102382E-3</c:v>
                </c:pt>
                <c:pt idx="5">
                  <c:v>3.37729130213603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4">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5">
                  <c:v>9.5909989583508031E-4</c:v>
                </c:pt>
                <c:pt idx="6">
                  <c:v>4.0273996597403518E-3</c:v>
                </c:pt>
                <c:pt idx="7">
                  <c:v>1.6131586940439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44469999999999998</c:v>
                </c:pt>
                <c:pt idx="2">
                  <c:v>9.7799999999999998E-2</c:v>
                </c:pt>
                <c:pt idx="3">
                  <c:v>0.214</c:v>
                </c:pt>
                <c:pt idx="4">
                  <c:v>4.6300000000000001E-2</c:v>
                </c:pt>
                <c:pt idx="5">
                  <c:v>0.18679999999999999</c:v>
                </c:pt>
                <c:pt idx="6">
                  <c:v>1.0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5702576509496746</c:v>
                </c:pt>
                <c:pt idx="2">
                  <c:v>3.4520681209163254E-2</c:v>
                </c:pt>
                <c:pt idx="3">
                  <c:v>7.5562036599509136E-2</c:v>
                </c:pt>
                <c:pt idx="4">
                  <c:v>1.6345943450085051E-2</c:v>
                </c:pt>
                <c:pt idx="5">
                  <c:v>6.5949985294559879E-2</c:v>
                </c:pt>
                <c:pt idx="6">
                  <c:v>3.68728691419153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2134907856927902</c:v>
                </c:pt>
                <c:pt idx="4">
                  <c:v>9.458941465665658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real Paris</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7">
                  <c:v>4.01132983601923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3.0035840365350994E-2</c:v>
                </c:pt>
                <c:pt idx="2">
                  <c:v>3.2031025162699532E-2</c:v>
                </c:pt>
                <c:pt idx="3">
                  <c:v>1.268764187799383E-2</c:v>
                </c:pt>
                <c:pt idx="4">
                  <c:v>3.8976536710875205E-2</c:v>
                </c:pt>
                <c:pt idx="5">
                  <c:v>1.63018885737841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4947543792368022E-3</c:v>
                </c:pt>
                <c:pt idx="2">
                  <c:v>5.8242459867970857E-4</c:v>
                </c:pt>
                <c:pt idx="3">
                  <c:v>5.1570550043381026E-3</c:v>
                </c:pt>
                <c:pt idx="4">
                  <c:v>1.0549153305556357E-2</c:v>
                </c:pt>
                <c:pt idx="5">
                  <c:v>1.2307952177354219E-2</c:v>
                </c:pt>
                <c:pt idx="6">
                  <c:v>2.97322376955267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5299999999999999E-2</c:v>
                </c:pt>
                <c:pt idx="1">
                  <c:v>7.0199999999999999E-2</c:v>
                </c:pt>
                <c:pt idx="2">
                  <c:v>0.45040000000000002</c:v>
                </c:pt>
                <c:pt idx="3">
                  <c:v>0.1618</c:v>
                </c:pt>
                <c:pt idx="4">
                  <c:v>0.20949999999999999</c:v>
                </c:pt>
                <c:pt idx="5">
                  <c:v>9.0499999999999997E-2</c:v>
                </c:pt>
                <c:pt idx="6">
                  <c:v>2.2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1.2317112325384537E-3</c:v>
                </c:pt>
                <c:pt idx="1">
                  <c:v>5.6571589283753885E-3</c:v>
                </c:pt>
                <c:pt idx="2">
                  <c:v>3.6280559236526018E-2</c:v>
                </c:pt>
                <c:pt idx="3">
                  <c:v>1.3032383738995429E-2</c:v>
                </c:pt>
                <c:pt idx="4">
                  <c:v>1.6872883359759557E-2</c:v>
                </c:pt>
                <c:pt idx="5">
                  <c:v>7.2928990913613025E-3</c:v>
                </c:pt>
                <c:pt idx="6">
                  <c:v>1.7470623806265976E-4</c:v>
                </c:pt>
                <c:pt idx="7">
                  <c:v>5.572713333216626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906378807991932E-2</c:v>
                </c:pt>
                <c:pt idx="1">
                  <c:v>6.6413669834065714E-2</c:v>
                </c:pt>
                <c:pt idx="2">
                  <c:v>8.415446374190047E-3</c:v>
                </c:pt>
                <c:pt idx="3">
                  <c:v>4.8175768084365599E-2</c:v>
                </c:pt>
                <c:pt idx="4">
                  <c:v>7.7148526008141066E-2</c:v>
                </c:pt>
                <c:pt idx="5">
                  <c:v>3.6259801619078852E-2</c:v>
                </c:pt>
                <c:pt idx="6">
                  <c:v>0.14307498727548099</c:v>
                </c:pt>
                <c:pt idx="7">
                  <c:v>8.70489472843123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5800000000000002E-2</c:v>
                </c:pt>
                <c:pt idx="1">
                  <c:v>6.7699999999999996E-2</c:v>
                </c:pt>
                <c:pt idx="2">
                  <c:v>0.45</c:v>
                </c:pt>
                <c:pt idx="3">
                  <c:v>0.1653</c:v>
                </c:pt>
                <c:pt idx="4">
                  <c:v>0.2054</c:v>
                </c:pt>
                <c:pt idx="5">
                  <c:v>9.35E-2</c:v>
                </c:pt>
                <c:pt idx="6">
                  <c:v>2.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1.3402078134440649E-3</c:v>
                </c:pt>
                <c:pt idx="1">
                  <c:v>5.7265694119279864E-3</c:v>
                </c:pt>
                <c:pt idx="2">
                  <c:v>3.805666643155646E-2</c:v>
                </c:pt>
                <c:pt idx="3">
                  <c:v>1.3975922051485914E-2</c:v>
                </c:pt>
                <c:pt idx="4">
                  <c:v>1.7366296151855289E-2</c:v>
                </c:pt>
                <c:pt idx="5">
                  <c:v>7.904868694850662E-3</c:v>
                </c:pt>
                <c:pt idx="6">
                  <c:v>1.9159124228828353E-4</c:v>
                </c:pt>
                <c:pt idx="7">
                  <c:v>1.3409429183519054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723300202747833E-2</c:v>
                </c:pt>
                <c:pt idx="1">
                  <c:v>7.0480254259641009E-2</c:v>
                </c:pt>
                <c:pt idx="2">
                  <c:v>8.8784399183877045E-3</c:v>
                </c:pt>
                <c:pt idx="3">
                  <c:v>5.0148523454470399E-2</c:v>
                </c:pt>
                <c:pt idx="4">
                  <c:v>6.6872057123425976E-2</c:v>
                </c:pt>
                <c:pt idx="5">
                  <c:v>3.3864965493700931E-2</c:v>
                </c:pt>
                <c:pt idx="6">
                  <c:v>0.14024530159521836</c:v>
                </c:pt>
                <c:pt idx="7">
                  <c:v>9.32435501140435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8000000000000005E-3</c:v>
                </c:pt>
                <c:pt idx="1">
                  <c:v>6.6000000000000003E-2</c:v>
                </c:pt>
                <c:pt idx="2">
                  <c:v>0.43969999999999998</c:v>
                </c:pt>
                <c:pt idx="3">
                  <c:v>0.18840000000000001</c:v>
                </c:pt>
                <c:pt idx="4">
                  <c:v>0.1754</c:v>
                </c:pt>
                <c:pt idx="5">
                  <c:v>0.121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4.2040129900582833E-4</c:v>
                </c:pt>
                <c:pt idx="1">
                  <c:v>3.1545340410906379E-3</c:v>
                </c:pt>
                <c:pt idx="2">
                  <c:v>2.1018590380633254E-2</c:v>
                </c:pt>
                <c:pt idx="3">
                  <c:v>9.0027585051827754E-3</c:v>
                </c:pt>
                <c:pt idx="4">
                  <c:v>8.3857623325928853E-3</c:v>
                </c:pt>
                <c:pt idx="5">
                  <c:v>5.7967663553207729E-3</c:v>
                </c:pt>
                <c:pt idx="6">
                  <c:v>1.84145834860394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722240119176825E-2</c:v>
                </c:pt>
                <c:pt idx="1">
                  <c:v>3.876794835953852E-2</c:v>
                </c:pt>
                <c:pt idx="2">
                  <c:v>6.8021638875866968E-3</c:v>
                </c:pt>
                <c:pt idx="3">
                  <c:v>7.8433580036861031E-2</c:v>
                </c:pt>
                <c:pt idx="4">
                  <c:v>6.4253233654384762E-2</c:v>
                </c:pt>
                <c:pt idx="5">
                  <c:v>2.3066867093595567E-2</c:v>
                </c:pt>
                <c:pt idx="6">
                  <c:v>0.15214515079844926</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3999999999999998E-3</c:v>
                </c:pt>
                <c:pt idx="2">
                  <c:v>0.56840000000000002</c:v>
                </c:pt>
                <c:pt idx="3">
                  <c:v>0.188</c:v>
                </c:pt>
                <c:pt idx="4">
                  <c:v>0.1017</c:v>
                </c:pt>
                <c:pt idx="5">
                  <c:v>0.138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7887235274327285E-4</c:v>
                </c:pt>
                <c:pt idx="2">
                  <c:v>4.7049379829794867E-2</c:v>
                </c:pt>
                <c:pt idx="3">
                  <c:v>1.5563015695094539E-2</c:v>
                </c:pt>
                <c:pt idx="4">
                  <c:v>8.4153764258805778E-3</c:v>
                </c:pt>
                <c:pt idx="5">
                  <c:v>1.147508524500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3005467028200126E-2</c:v>
                </c:pt>
                <c:pt idx="2">
                  <c:v>2.8877630403529508E-3</c:v>
                </c:pt>
                <c:pt idx="3">
                  <c:v>1.6708130633902325E-2</c:v>
                </c:pt>
                <c:pt idx="4">
                  <c:v>0.11156471521941451</c:v>
                </c:pt>
                <c:pt idx="5">
                  <c:v>1.7530817808183378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9099999999999999E-2</c:v>
                </c:pt>
                <c:pt idx="1">
                  <c:v>6.8599999999999994E-2</c:v>
                </c:pt>
                <c:pt idx="2">
                  <c:v>0.45429999999999998</c:v>
                </c:pt>
                <c:pt idx="3">
                  <c:v>0.15459999999999999</c:v>
                </c:pt>
                <c:pt idx="4">
                  <c:v>0.2195</c:v>
                </c:pt>
                <c:pt idx="5">
                  <c:v>8.0699999999999994E-2</c:v>
                </c:pt>
                <c:pt idx="6">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3.2810969073127067E-4</c:v>
                </c:pt>
                <c:pt idx="1">
                  <c:v>6.0931649153439911E-2</c:v>
                </c:pt>
                <c:pt idx="2">
                  <c:v>8.3183192111688526E-3</c:v>
                </c:pt>
                <c:pt idx="3">
                  <c:v>1.2539000070998637E-2</c:v>
                </c:pt>
                <c:pt idx="4">
                  <c:v>7.8476884751148834E-3</c:v>
                </c:pt>
                <c:pt idx="5">
                  <c:v>9.9108820224919816E-3</c:v>
                </c:pt>
                <c:pt idx="6">
                  <c:v>5.731436766533019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2735398325460627E-2</c:v>
                </c:pt>
                <c:pt idx="1">
                  <c:v>1.5275174518129091E-2</c:v>
                </c:pt>
                <c:pt idx="2">
                  <c:v>3.861678713877531E-2</c:v>
                </c:pt>
                <c:pt idx="3">
                  <c:v>5.1585445434957675E-2</c:v>
                </c:pt>
                <c:pt idx="4">
                  <c:v>7.6390664800166375E-2</c:v>
                </c:pt>
                <c:pt idx="5">
                  <c:v>3.1858952166059613E-2</c:v>
                </c:pt>
                <c:pt idx="6">
                  <c:v>0.13986374916085334</c:v>
                </c:pt>
                <c:pt idx="7">
                  <c:v>9.32435514549864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2.5082096443099704E-3</c:v>
                </c:pt>
                <c:pt idx="1">
                  <c:v>8.9970293947620947E-3</c:v>
                </c:pt>
                <c:pt idx="2">
                  <c:v>5.9580533412977407E-2</c:v>
                </c:pt>
                <c:pt idx="3">
                  <c:v>2.0279902063345786E-2</c:v>
                </c:pt>
                <c:pt idx="4">
                  <c:v>2.8778085772375995E-2</c:v>
                </c:pt>
                <c:pt idx="5">
                  <c:v>1.0581592925549905E-2</c:v>
                </c:pt>
                <c:pt idx="6">
                  <c:v>4.1133577300344319E-4</c:v>
                </c:pt>
                <c:pt idx="7">
                  <c:v>3.0421723422574699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0943838380335276E-2</c:v>
                </c:pt>
                <c:pt idx="3">
                  <c:v>5.0819616748649411E-3</c:v>
                </c:pt>
                <c:pt idx="5">
                  <c:v>2.0004412670982445E-3</c:v>
                </c:pt>
                <c:pt idx="6">
                  <c:v>4.4900179708725688E-2</c:v>
                </c:pt>
                <c:pt idx="7">
                  <c:v>2.86476015247063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1.5548045750317204E-2</c:v>
                </c:pt>
                <c:pt idx="2">
                  <c:v>1.1780940166630427E-3</c:v>
                </c:pt>
                <c:pt idx="3">
                  <c:v>3.1506319922905271E-2</c:v>
                </c:pt>
                <c:pt idx="4">
                  <c:v>7.6997068638785304E-2</c:v>
                </c:pt>
                <c:pt idx="5">
                  <c:v>3.0623966431453507E-2</c:v>
                </c:pt>
                <c:pt idx="6">
                  <c:v>7.0563976009733131E-2</c:v>
                </c:pt>
                <c:pt idx="7">
                  <c:v>8.25366296183313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7000000000000002E-3</c:v>
                </c:pt>
                <c:pt idx="1">
                  <c:v>7.6300000000000007E-2</c:v>
                </c:pt>
                <c:pt idx="2">
                  <c:v>0.41460000000000002</c:v>
                </c:pt>
                <c:pt idx="3">
                  <c:v>0.17580000000000001</c:v>
                </c:pt>
                <c:pt idx="4">
                  <c:v>0.22770000000000001</c:v>
                </c:pt>
                <c:pt idx="5">
                  <c:v>9.8400000000000001E-2</c:v>
                </c:pt>
                <c:pt idx="6">
                  <c:v>2.3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3.6290261897469427E-4</c:v>
                </c:pt>
                <c:pt idx="1">
                  <c:v>5.8877181781843355E-3</c:v>
                </c:pt>
                <c:pt idx="2">
                  <c:v>3.1979161180068515E-2</c:v>
                </c:pt>
                <c:pt idx="3">
                  <c:v>1.3563522541374452E-2</c:v>
                </c:pt>
                <c:pt idx="4">
                  <c:v>1.7560309271623414E-2</c:v>
                </c:pt>
                <c:pt idx="5">
                  <c:v>7.5901234339553836E-3</c:v>
                </c:pt>
                <c:pt idx="6">
                  <c:v>1.8182644445860022E-4</c:v>
                </c:pt>
                <c:pt idx="7">
                  <c:v>5.799830976856119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234695694610064E-2</c:v>
                </c:pt>
                <c:pt idx="1">
                  <c:v>5.8163149775759745E-2</c:v>
                </c:pt>
                <c:pt idx="2">
                  <c:v>8.3534116288695968E-3</c:v>
                </c:pt>
                <c:pt idx="3">
                  <c:v>4.8727792135998108E-2</c:v>
                </c:pt>
                <c:pt idx="4">
                  <c:v>7.7105186764563169E-2</c:v>
                </c:pt>
                <c:pt idx="5">
                  <c:v>3.7388087264804054E-2</c:v>
                </c:pt>
                <c:pt idx="6">
                  <c:v>0.14303768363355984</c:v>
                </c:pt>
                <c:pt idx="7">
                  <c:v>8.87413928198067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8999999999999998E-3</c:v>
                </c:pt>
                <c:pt idx="1">
                  <c:v>7.3899999999999993E-2</c:v>
                </c:pt>
                <c:pt idx="2">
                  <c:v>0.41249999999999998</c:v>
                </c:pt>
                <c:pt idx="3">
                  <c:v>0.18029999999999999</c:v>
                </c:pt>
                <c:pt idx="4">
                  <c:v>0.224</c:v>
                </c:pt>
                <c:pt idx="5">
                  <c:v>0.10199999999999999</c:v>
                </c:pt>
                <c:pt idx="6">
                  <c:v>2.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3.989486005977994E-4</c:v>
                </c:pt>
                <c:pt idx="1">
                  <c:v>5.9742953389195297E-3</c:v>
                </c:pt>
                <c:pt idx="2">
                  <c:v>3.335695792893343E-2</c:v>
                </c:pt>
                <c:pt idx="3">
                  <c:v>1.458050710000631E-2</c:v>
                </c:pt>
                <c:pt idx="4">
                  <c:v>1.8117288700616657E-2</c:v>
                </c:pt>
                <c:pt idx="5">
                  <c:v>8.2468257697268423E-3</c:v>
                </c:pt>
                <c:pt idx="6">
                  <c:v>1.9987929656393181E-4</c:v>
                </c:pt>
                <c:pt idx="7">
                  <c:v>1.3989508291264702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064181797789948E-2</c:v>
                </c:pt>
                <c:pt idx="1">
                  <c:v>6.1875112814017898E-2</c:v>
                </c:pt>
                <c:pt idx="2">
                  <c:v>8.8490201021637852E-3</c:v>
                </c:pt>
                <c:pt idx="3">
                  <c:v>5.0964646893961865E-2</c:v>
                </c:pt>
                <c:pt idx="4">
                  <c:v>6.6403749713108404E-2</c:v>
                </c:pt>
                <c:pt idx="5">
                  <c:v>3.4946131097050373E-2</c:v>
                </c:pt>
                <c:pt idx="6">
                  <c:v>0.14003192156778818</c:v>
                </c:pt>
                <c:pt idx="7">
                  <c:v>9.52455932814558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8600000000000003E-2</c:v>
                </c:pt>
                <c:pt idx="2">
                  <c:v>0.34289999999999998</c:v>
                </c:pt>
                <c:pt idx="3">
                  <c:v>0.22450000000000001</c:v>
                </c:pt>
                <c:pt idx="4">
                  <c:v>0.20910000000000001</c:v>
                </c:pt>
                <c:pt idx="5">
                  <c:v>0.14449999999999999</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2776276506118799E-3</c:v>
                </c:pt>
                <c:pt idx="2">
                  <c:v>1.4288487828934361E-2</c:v>
                </c:pt>
                <c:pt idx="3">
                  <c:v>9.3540566765183669E-3</c:v>
                </c:pt>
                <c:pt idx="4">
                  <c:v>8.712526306472854E-3</c:v>
                </c:pt>
                <c:pt idx="5">
                  <c:v>6.0229629615178104E-3</c:v>
                </c:pt>
                <c:pt idx="6">
                  <c:v>1.913314208125536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3.2821792976119805E-2</c:v>
                </c:pt>
                <c:pt idx="2">
                  <c:v>6.9921694817899043E-3</c:v>
                </c:pt>
                <c:pt idx="3">
                  <c:v>7.9741134248806175E-2</c:v>
                </c:pt>
                <c:pt idx="4">
                  <c:v>6.5284167337208598E-2</c:v>
                </c:pt>
                <c:pt idx="5">
                  <c:v>2.3857512041304135E-2</c:v>
                </c:pt>
                <c:pt idx="6">
                  <c:v>0.14901633544198736</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7E-2</c:v>
                </c:pt>
                <c:pt idx="1">
                  <c:v>0.66910000000000003</c:v>
                </c:pt>
                <c:pt idx="2">
                  <c:v>0.13370000000000001</c:v>
                </c:pt>
                <c:pt idx="3">
                  <c:v>8.7400000000000005E-2</c:v>
                </c:pt>
                <c:pt idx="4">
                  <c:v>5.2200000000000003E-2</c:v>
                </c:pt>
                <c:pt idx="5">
                  <c:v>4.2799999999999998E-2</c:v>
                </c:pt>
                <c:pt idx="6">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3999999999999998E-3</c:v>
                </c:pt>
                <c:pt idx="2">
                  <c:v>0.56840000000000002</c:v>
                </c:pt>
                <c:pt idx="3">
                  <c:v>0.188</c:v>
                </c:pt>
                <c:pt idx="4">
                  <c:v>0.1017</c:v>
                </c:pt>
                <c:pt idx="5">
                  <c:v>0.138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8354032268939375E-4</c:v>
                </c:pt>
                <c:pt idx="2">
                  <c:v>4.7836926852182174E-2</c:v>
                </c:pt>
                <c:pt idx="3">
                  <c:v>1.582352086464997E-2</c:v>
                </c:pt>
                <c:pt idx="4">
                  <c:v>8.5562391677582849E-3</c:v>
                </c:pt>
                <c:pt idx="5">
                  <c:v>1.16671636368772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5898996769148388E-2</c:v>
                </c:pt>
                <c:pt idx="2">
                  <c:v>2.9361005358102214E-3</c:v>
                </c:pt>
                <c:pt idx="3">
                  <c:v>1.077269704975237E-2</c:v>
                </c:pt>
                <c:pt idx="4">
                  <c:v>0.11192641532182165</c:v>
                </c:pt>
                <c:pt idx="5">
                  <c:v>1.782426149255913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8999999999999999E-3</c:v>
                </c:pt>
                <c:pt idx="1">
                  <c:v>7.1999999999999995E-2</c:v>
                </c:pt>
                <c:pt idx="2">
                  <c:v>0.44019999999999998</c:v>
                </c:pt>
                <c:pt idx="3">
                  <c:v>0.16239999999999999</c:v>
                </c:pt>
                <c:pt idx="4">
                  <c:v>0.23039999999999999</c:v>
                </c:pt>
                <c:pt idx="5">
                  <c:v>8.4699999999999998E-2</c:v>
                </c:pt>
                <c:pt idx="6">
                  <c:v>3.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9.0986209265394539E-4</c:v>
                </c:pt>
                <c:pt idx="1">
                  <c:v>9.4357163802176007E-3</c:v>
                </c:pt>
                <c:pt idx="2">
                  <c:v>5.766459814853258E-2</c:v>
                </c:pt>
                <c:pt idx="3">
                  <c:v>2.1268731677116025E-2</c:v>
                </c:pt>
                <c:pt idx="4">
                  <c:v>3.0181279108835855E-2</c:v>
                </c:pt>
                <c:pt idx="5">
                  <c:v>1.1097541790241767E-2</c:v>
                </c:pt>
                <c:pt idx="6">
                  <c:v>4.3139213186939784E-4</c:v>
                </c:pt>
                <c:pt idx="7">
                  <c:v>3.1905059038703734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1477450004542769E-2</c:v>
                </c:pt>
                <c:pt idx="3">
                  <c:v>5.3297535125402555E-3</c:v>
                </c:pt>
                <c:pt idx="5">
                  <c:v>2.0979809672080417E-3</c:v>
                </c:pt>
                <c:pt idx="6">
                  <c:v>4.708947170929409E-2</c:v>
                </c:pt>
                <c:pt idx="7">
                  <c:v>3.004443256770822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1.4583745695586389E-2</c:v>
                </c:pt>
                <c:pt idx="2">
                  <c:v>3.8891756487235236E-4</c:v>
                </c:pt>
                <c:pt idx="3">
                  <c:v>3.1976534028164603E-2</c:v>
                </c:pt>
                <c:pt idx="4">
                  <c:v>7.4972604529626063E-2</c:v>
                </c:pt>
                <c:pt idx="5">
                  <c:v>3.1520271264673355E-2</c:v>
                </c:pt>
                <c:pt idx="6">
                  <c:v>6.7446130273164789E-2</c:v>
                </c:pt>
                <c:pt idx="7">
                  <c:v>8.43468679375280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2370000000000001</c:v>
                </c:pt>
                <c:pt idx="2">
                  <c:v>0.2392</c:v>
                </c:pt>
                <c:pt idx="3">
                  <c:v>6.8400000000000002E-2</c:v>
                </c:pt>
                <c:pt idx="4">
                  <c:v>0.31469999999999998</c:v>
                </c:pt>
                <c:pt idx="5">
                  <c:v>0.153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7999686719448667E-2</c:v>
                </c:pt>
                <c:pt idx="2">
                  <c:v>2.9947161467412886E-2</c:v>
                </c:pt>
                <c:pt idx="3">
                  <c:v>8.559274109821673E-3</c:v>
                </c:pt>
                <c:pt idx="4">
                  <c:v>3.939748857059025E-2</c:v>
                </c:pt>
                <c:pt idx="5">
                  <c:v>1.926922526180005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826935391761814</c:v>
                </c:pt>
                <c:pt idx="4">
                  <c:v>0.117440437323173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738216181025278E-3</c:v>
                </c:pt>
                <c:pt idx="4">
                  <c:v>2.0304801624116159E-2</c:v>
                </c:pt>
                <c:pt idx="5">
                  <c:v>5.2669172103445093E-4</c:v>
                </c:pt>
                <c:pt idx="6">
                  <c:v>3.4716786386033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07098094125178E-2</c:v>
                </c:pt>
                <c:pt idx="2">
                  <c:v>3.4736949732887745E-4</c:v>
                </c:pt>
                <c:pt idx="3">
                  <c:v>1.4300378868366685E-2</c:v>
                </c:pt>
                <c:pt idx="4">
                  <c:v>1.745402735111239E-2</c:v>
                </c:pt>
                <c:pt idx="5">
                  <c:v>2.2890103944693988E-2</c:v>
                </c:pt>
                <c:pt idx="6">
                  <c:v>2.9277498242794124E-2</c:v>
                </c:pt>
                <c:pt idx="7">
                  <c:v>3.25540215119311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147</c:v>
                </c:pt>
                <c:pt idx="2">
                  <c:v>0.2452</c:v>
                </c:pt>
                <c:pt idx="3">
                  <c:v>6.7299999999999999E-2</c:v>
                </c:pt>
                <c:pt idx="4">
                  <c:v>0.31480000000000002</c:v>
                </c:pt>
                <c:pt idx="5">
                  <c:v>0.158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7672797842506237E-2</c:v>
                </c:pt>
                <c:pt idx="2">
                  <c:v>3.1607958218261151E-2</c:v>
                </c:pt>
                <c:pt idx="3">
                  <c:v>8.6694999993999974E-3</c:v>
                </c:pt>
                <c:pt idx="4">
                  <c:v>4.0580169747638443E-2</c:v>
                </c:pt>
                <c:pt idx="5">
                  <c:v>2.037723578522528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671293547604216</c:v>
                </c:pt>
                <c:pt idx="4">
                  <c:v>9.83460098816265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9318555920742921E-3</c:v>
                </c:pt>
                <c:pt idx="4">
                  <c:v>2.0172630247094502E-2</c:v>
                </c:pt>
                <c:pt idx="5">
                  <c:v>5.639573442677002E-4</c:v>
                </c:pt>
                <c:pt idx="6">
                  <c:v>3.65993857980864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6642774766393725E-2</c:v>
                </c:pt>
                <c:pt idx="2">
                  <c:v>3.7198624611672432E-4</c:v>
                </c:pt>
                <c:pt idx="3">
                  <c:v>1.5042413233820199E-2</c:v>
                </c:pt>
                <c:pt idx="4">
                  <c:v>1.7018137893839894E-2</c:v>
                </c:pt>
                <c:pt idx="5">
                  <c:v>2.348650672880578E-2</c:v>
                </c:pt>
                <c:pt idx="6">
                  <c:v>2.9708399551223758E-2</c:v>
                </c:pt>
                <c:pt idx="7">
                  <c:v>3.43633117605795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540000000000001</c:v>
                </c:pt>
                <c:pt idx="2">
                  <c:v>0.24360000000000001</c:v>
                </c:pt>
                <c:pt idx="3">
                  <c:v>1.11E-2</c:v>
                </c:pt>
                <c:pt idx="4">
                  <c:v>0.3427</c:v>
                </c:pt>
                <c:pt idx="5">
                  <c:v>0.217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3663694195172655E-2</c:v>
                </c:pt>
                <c:pt idx="2">
                  <c:v>3.1080831061917391E-2</c:v>
                </c:pt>
                <c:pt idx="3">
                  <c:v>1.4218955665862031E-3</c:v>
                </c:pt>
                <c:pt idx="4">
                  <c:v>4.372561120404974E-2</c:v>
                </c:pt>
                <c:pt idx="5">
                  <c:v>2.77109598687743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7158138927590516</c:v>
                </c:pt>
                <c:pt idx="4">
                  <c:v>0.1015666088986447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1683274150275851</c:v>
                </c:pt>
                <c:pt idx="2">
                  <c:v>5.0645424368439759E-2</c:v>
                </c:pt>
                <c:pt idx="3">
                  <c:v>3.0875103045724266E-2</c:v>
                </c:pt>
                <c:pt idx="4">
                  <c:v>1.4460144552626257E-2</c:v>
                </c:pt>
                <c:pt idx="5">
                  <c:v>1.6208727819245348E-2</c:v>
                </c:pt>
                <c:pt idx="6">
                  <c:v>1.1634282748057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7.9038939095227925E-3</c:v>
                </c:pt>
                <c:pt idx="4">
                  <c:v>5.209615584996926E-2</c:v>
                </c:pt>
                <c:pt idx="6">
                  <c:v>9.9772066810478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4.1950206269367643E-2</c:v>
                </c:pt>
                <c:pt idx="3">
                  <c:v>3.3018156855327975E-2</c:v>
                </c:pt>
                <c:pt idx="4">
                  <c:v>3.2695179419746027E-2</c:v>
                </c:pt>
                <c:pt idx="5">
                  <c:v>4.5127924819367081E-2</c:v>
                </c:pt>
                <c:pt idx="6">
                  <c:v>3.2128080325012222E-2</c:v>
                </c:pt>
                <c:pt idx="7">
                  <c:v>2.43717761065579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800000000000002E-2</c:v>
                </c:pt>
                <c:pt idx="3">
                  <c:v>0.42120000000000002</c:v>
                </c:pt>
                <c:pt idx="4">
                  <c:v>5.4199999999999998E-2</c:v>
                </c:pt>
                <c:pt idx="5">
                  <c:v>0.5048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1.3243293102195291E-3</c:v>
                </c:pt>
                <c:pt idx="3">
                  <c:v>2.8177449319760215E-2</c:v>
                </c:pt>
                <c:pt idx="4">
                  <c:v>3.6226658393102382E-3</c:v>
                </c:pt>
                <c:pt idx="5">
                  <c:v>3.37729130213603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1785822763109594</c:v>
                </c:pt>
                <c:pt idx="4">
                  <c:v>0.594813369632664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4.2487175043650502E-2</c:v>
                </c:pt>
                <c:pt idx="2">
                  <c:v>9.0230299506753944E-3</c:v>
                </c:pt>
                <c:pt idx="3">
                  <c:v>2.2387072369463093E-2</c:v>
                </c:pt>
                <c:pt idx="5">
                  <c:v>3.5900560701687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4">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5">
                  <c:v>9.5909989583508031E-4</c:v>
                </c:pt>
                <c:pt idx="6">
                  <c:v>4.0273996597403518E-3</c:v>
                </c:pt>
                <c:pt idx="7">
                  <c:v>1.6131586940439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3100000000000001</c:v>
                </c:pt>
                <c:pt idx="2">
                  <c:v>0.24629999999999999</c:v>
                </c:pt>
                <c:pt idx="3">
                  <c:v>9.7600000000000006E-2</c:v>
                </c:pt>
                <c:pt idx="4">
                  <c:v>0.29970000000000002</c:v>
                </c:pt>
                <c:pt idx="5">
                  <c:v>0.125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5.8785648519070141E-4</c:v>
                </c:pt>
                <c:pt idx="1">
                  <c:v>3.3680168452992737E-2</c:v>
                </c:pt>
                <c:pt idx="2">
                  <c:v>6.7290090886708061E-3</c:v>
                </c:pt>
                <c:pt idx="3">
                  <c:v>4.4016255040906947E-3</c:v>
                </c:pt>
                <c:pt idx="4">
                  <c:v>2.6295747505043032E-3</c:v>
                </c:pt>
                <c:pt idx="5">
                  <c:v>2.1555782016911057E-3</c:v>
                </c:pt>
                <c:pt idx="6">
                  <c:v>1.545790075374177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554784932991951E-2</c:v>
                </c:pt>
                <c:pt idx="1">
                  <c:v>8.2423139476364201E-3</c:v>
                </c:pt>
                <c:pt idx="2">
                  <c:v>2.1091745179549145E-2</c:v>
                </c:pt>
                <c:pt idx="3">
                  <c:v>8.3034713037953109E-2</c:v>
                </c:pt>
                <c:pt idx="4">
                  <c:v>7.0009421236473357E-2</c:v>
                </c:pt>
                <c:pt idx="5">
                  <c:v>2.6708055247225235E-2</c:v>
                </c:pt>
                <c:pt idx="6">
                  <c:v>0.15200898637439786</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0035840365350994E-2</c:v>
                </c:pt>
                <c:pt idx="2">
                  <c:v>3.2031025162699532E-2</c:v>
                </c:pt>
                <c:pt idx="3">
                  <c:v>1.268764187799383E-2</c:v>
                </c:pt>
                <c:pt idx="4">
                  <c:v>3.8976536710875205E-2</c:v>
                </c:pt>
                <c:pt idx="5">
                  <c:v>1.63018885737841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2134907856927902</c:v>
                </c:pt>
                <c:pt idx="4">
                  <c:v>9.458941465665658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5702576509496746</c:v>
                </c:pt>
                <c:pt idx="2">
                  <c:v>3.4520681209163254E-2</c:v>
                </c:pt>
                <c:pt idx="3">
                  <c:v>7.5562036599509136E-2</c:v>
                </c:pt>
                <c:pt idx="4">
                  <c:v>1.6345943450085051E-2</c:v>
                </c:pt>
                <c:pt idx="5">
                  <c:v>6.5949985294559879E-2</c:v>
                </c:pt>
                <c:pt idx="6">
                  <c:v>3.68728691419153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eal Paris</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7">
                  <c:v>4.01132983601923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4947543792368022E-3</c:v>
                </c:pt>
                <c:pt idx="2">
                  <c:v>5.8242459867970857E-4</c:v>
                </c:pt>
                <c:pt idx="3">
                  <c:v>5.1570550043381026E-3</c:v>
                </c:pt>
                <c:pt idx="4">
                  <c:v>1.0549153305556357E-2</c:v>
                </c:pt>
                <c:pt idx="5">
                  <c:v>1.2307952177354219E-2</c:v>
                </c:pt>
                <c:pt idx="6">
                  <c:v>2.97322376955267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4.8532906895585761E-6</c:v>
                </c:pt>
                <c:pt idx="5">
                  <c:v>1.9640458253570862E-4</c:v>
                </c:pt>
                <c:pt idx="6">
                  <c:v>3.0136401797186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2138090040530385E-2</c:v>
                </c:pt>
                <c:pt idx="1">
                  <c:v>7.20708287624411E-2</c:v>
                </c:pt>
                <c:pt idx="2">
                  <c:v>4.4696005610716065E-2</c:v>
                </c:pt>
                <c:pt idx="3">
                  <c:v>6.1203298532671473E-2</c:v>
                </c:pt>
                <c:pt idx="4">
                  <c:v>9.4021409367900627E-2</c:v>
                </c:pt>
                <c:pt idx="5">
                  <c:v>4.3356296127904446E-2</c:v>
                </c:pt>
                <c:pt idx="6">
                  <c:v>0.14023605333382499</c:v>
                </c:pt>
                <c:pt idx="7">
                  <c:v>8.70545199976456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321397877187701E-6</c:v>
                </c:pt>
                <c:pt idx="5">
                  <c:v>2.1327321652369916E-4</c:v>
                </c:pt>
                <c:pt idx="6">
                  <c:v>3.26493157224339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3063508016191898E-2</c:v>
                </c:pt>
                <c:pt idx="1">
                  <c:v>7.6206823671569002E-2</c:v>
                </c:pt>
                <c:pt idx="2">
                  <c:v>4.6935106349944168E-2</c:v>
                </c:pt>
                <c:pt idx="3">
                  <c:v>6.4119124108079129E-2</c:v>
                </c:pt>
                <c:pt idx="4">
                  <c:v>8.4238353275281258E-2</c:v>
                </c:pt>
                <c:pt idx="5">
                  <c:v>4.1556560972027895E-2</c:v>
                </c:pt>
                <c:pt idx="6">
                  <c:v>0.13717196126526324</c:v>
                </c:pt>
                <c:pt idx="7">
                  <c:v>9.32435514549864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9.5335324722119441E-6</c:v>
                </c:pt>
                <c:pt idx="5">
                  <c:v>1.8978658031063995E-7</c:v>
                </c:pt>
                <c:pt idx="6">
                  <c:v>2.449424043277536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8142641418182653E-2</c:v>
                </c:pt>
                <c:pt idx="1">
                  <c:v>4.1922482400629159E-2</c:v>
                </c:pt>
                <c:pt idx="2">
                  <c:v>2.7820754268219949E-2</c:v>
                </c:pt>
                <c:pt idx="3">
                  <c:v>8.742680500957159E-2</c:v>
                </c:pt>
                <c:pt idx="4">
                  <c:v>7.263899598697765E-2</c:v>
                </c:pt>
                <c:pt idx="5">
                  <c:v>2.8863443662336029E-2</c:v>
                </c:pt>
                <c:pt idx="6">
                  <c:v>0.15191862297760753</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4914847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63258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601010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834153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184977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17844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035412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35029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932595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621376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006323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42555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97988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098324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21304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048992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739906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435938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061226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0557092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70781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326762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646695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246096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2041830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0023016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333177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4314202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20277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72752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448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195358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250678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91652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508868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8159185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2141574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328243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0777007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850343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9551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38319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584002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694761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54619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4306</Words>
  <Application>Microsoft Office PowerPoint</Application>
  <PresentationFormat>On-screen Show (16:9)</PresentationFormat>
  <Paragraphs>1447</Paragraphs>
  <Slides>4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1T07: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